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4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4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12030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7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4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32835" y="173668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E VANTAGENS</a:t>
              </a:r>
              <a:endParaRPr lang="pt-B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ÇÃO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pt-BR" dirty="0"/>
              <a:t>Melhorar a flexibilidade do processo de garrafa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769" y="143510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pt-BR" dirty="0"/>
              <a:t>Barras de quartzo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0DB7499-8C91-486C-830A-427CE41778FC}"/>
              </a:ext>
            </a:extLst>
          </p:cNvPr>
          <p:cNvSpPr txBox="1">
            <a:spLocks/>
          </p:cNvSpPr>
          <p:nvPr/>
        </p:nvSpPr>
        <p:spPr>
          <a:xfrm>
            <a:off x="632835" y="5837121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</a:t>
            </a:r>
            <a:r>
              <a:rPr lang="en-GB" altLang="fr-FR" sz="800" dirty="0" err="1">
                <a:solidFill>
                  <a:srgbClr val="000000"/>
                </a:solidFill>
              </a:rPr>
              <a:t>Qualidade</a:t>
            </a:r>
            <a:r>
              <a:rPr lang="en-GB" altLang="fr-FR" sz="800" dirty="0">
                <a:solidFill>
                  <a:srgbClr val="000000"/>
                </a:solidFill>
              </a:rPr>
              <a:t> do </a:t>
            </a:r>
            <a:r>
              <a:rPr lang="en-GB" altLang="fr-FR" sz="800" dirty="0" err="1">
                <a:solidFill>
                  <a:srgbClr val="000000"/>
                </a:solidFill>
              </a:rPr>
              <a:t>produt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opradoras </a:t>
            </a:r>
            <a:r>
              <a:rPr kumimoji="0" lang="fr-FR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RIX</a:t>
            </a:r>
            <a:endParaRPr kumimoji="0" lang="pt-BR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2032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FACE09-5486-4408-856A-EF79B95E67E9}"/>
              </a:ext>
            </a:extLst>
          </p:cNvPr>
          <p:cNvSpPr/>
          <p:nvPr/>
        </p:nvSpPr>
        <p:spPr>
          <a:xfrm>
            <a:off x="4760867" y="2160646"/>
            <a:ext cx="386344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00" dirty="0"/>
              <a:t>Instalação de uma haste de quartzo entre a lâmpada de aquecimento e a pré-forma para concentrar / focar a radiação IR.</a:t>
            </a:r>
          </a:p>
          <a:p>
            <a:endParaRPr lang="pt-BR" sz="1100" dirty="0">
              <a:solidFill>
                <a:srgbClr val="FF0000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BEE4369-6E35-4E33-A414-ED70FF4E799E}"/>
              </a:ext>
            </a:extLst>
          </p:cNvPr>
          <p:cNvSpPr/>
          <p:nvPr/>
        </p:nvSpPr>
        <p:spPr>
          <a:xfrm>
            <a:off x="596321" y="2174553"/>
            <a:ext cx="396240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Contribuem para resolver problemas de aquecimento, especialmente na pré-forma sob a área do pescoço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Apenas para a primeira zona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Recomendado para garantir a produção de garrafas rPET para: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proteção de gargalo de garrafa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robustez do processo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garantir distribuição ideal de material</a:t>
            </a:r>
            <a:endParaRPr lang="en-GB" altLang="fr-FR" sz="1200" b="1" dirty="0"/>
          </a:p>
        </p:txBody>
      </p:sp>
      <p:pic>
        <p:nvPicPr>
          <p:cNvPr id="17" name="Image 9">
            <a:extLst>
              <a:ext uri="{FF2B5EF4-FFF2-40B4-BE49-F238E27FC236}">
                <a16:creationId xmlns:a16="http://schemas.microsoft.com/office/drawing/2014/main" id="{8B38F272-A646-42A7-92DA-E25FFC48009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448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41</TotalTime>
  <Words>94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Sidel_Template_4x3_with add layouts</vt:lpstr>
      <vt:lpstr>think-cell Folie</vt:lpstr>
      <vt:lpstr>Melhorar a flexibilidade do processo de garraf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5</cp:revision>
  <dcterms:created xsi:type="dcterms:W3CDTF">2018-02-10T17:04:39Z</dcterms:created>
  <dcterms:modified xsi:type="dcterms:W3CDTF">2021-02-04T16:2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